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444444"/>
    <a:srgbClr val="F6F6F6"/>
    <a:srgbClr val="E5E5E5"/>
    <a:srgbClr val="A8A8A8"/>
    <a:srgbClr val="8D8D8D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7F690019-1E7A-4320-B6E8-C125EAC36600}"/>
    <pc:docChg chg="modSld">
      <pc:chgData name="Meyer Raphael (PAR-ES)" userId="79615dfe-ed48-4e74-a40f-4f7b034c1c27" providerId="ADAL" clId="{7F690019-1E7A-4320-B6E8-C125EAC36600}" dt="2022-03-09T16:25:09.230" v="0" actId="692"/>
      <pc:docMkLst>
        <pc:docMk/>
      </pc:docMkLst>
      <pc:sldChg chg="modSp">
        <pc:chgData name="Meyer Raphael (PAR-ES)" userId="79615dfe-ed48-4e74-a40f-4f7b034c1c27" providerId="ADAL" clId="{7F690019-1E7A-4320-B6E8-C125EAC36600}" dt="2022-03-09T16:25:09.230" v="0" actId="692"/>
        <pc:sldMkLst>
          <pc:docMk/>
          <pc:sldMk cId="2543225151" sldId="405"/>
        </pc:sldMkLst>
        <pc:graphicFrameChg chg="mod">
          <ac:chgData name="Meyer Raphael (PAR-ES)" userId="79615dfe-ed48-4e74-a40f-4f7b034c1c27" providerId="ADAL" clId="{7F690019-1E7A-4320-B6E8-C125EAC36600}" dt="2022-03-09T16:25:09.230" v="0" actId="692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Weigel Stefan (PAR-EPS)" userId="fd3b2067-2981-4ad8-bf3a-d2e1004e4fa8" providerId="ADAL" clId="{9125DBD5-E5B9-476E-B32E-2A3A779513F9}"/>
    <pc:docChg chg="undo custSel modSld">
      <pc:chgData name="Weigel Stefan (PAR-EPS)" userId="fd3b2067-2981-4ad8-bf3a-d2e1004e4fa8" providerId="ADAL" clId="{9125DBD5-E5B9-476E-B32E-2A3A779513F9}" dt="2024-02-28T08:51:15.377" v="12" actId="27918"/>
      <pc:docMkLst>
        <pc:docMk/>
      </pc:docMkLst>
      <pc:sldChg chg="modSp mod">
        <pc:chgData name="Weigel Stefan (PAR-EPS)" userId="fd3b2067-2981-4ad8-bf3a-d2e1004e4fa8" providerId="ADAL" clId="{9125DBD5-E5B9-476E-B32E-2A3A779513F9}" dt="2024-02-28T08:51:15.377" v="12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9125DBD5-E5B9-476E-B32E-2A3A779513F9}" dt="2024-02-28T08:50:01.778" v="0"/>
          <ac:spMkLst>
            <pc:docMk/>
            <pc:sldMk cId="2543225151" sldId="40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125DBD5-E5B9-476E-B32E-2A3A779513F9}" dt="2024-02-28T08:50:39.810" v="5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9125DBD5-E5B9-476E-B32E-2A3A779513F9}" dt="2024-02-28T08:50:39.810" v="5" actId="554"/>
          <ac:spMkLst>
            <pc:docMk/>
            <pc:sldMk cId="2543225151" sldId="405"/>
            <ac:spMk id="7" creationId="{3D334280-6DD2-4055-8D55-795F939CC5BB}"/>
          </ac:spMkLst>
        </pc:sp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DC46216-0C43-43E9-842A-1C620F326D3C}"/>
    <pc:docChg chg="modSld">
      <pc:chgData name="Weigel Stefan (PAR-EPS)" userId="fd3b2067-2981-4ad8-bf3a-d2e1004e4fa8" providerId="ADAL" clId="{6DC46216-0C43-43E9-842A-1C620F326D3C}" dt="2024-02-28T08:48:27.639" v="30" actId="27918"/>
      <pc:docMkLst>
        <pc:docMk/>
      </pc:docMkLst>
      <pc:sldChg chg="mod">
        <pc:chgData name="Weigel Stefan (PAR-EPS)" userId="fd3b2067-2981-4ad8-bf3a-d2e1004e4fa8" providerId="ADAL" clId="{6DC46216-0C43-43E9-842A-1C620F326D3C}" dt="2024-02-28T08:48:27.639" v="30" actId="27918"/>
        <pc:sldMkLst>
          <pc:docMk/>
          <pc:sldMk cId="2543225151" sldId="405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S)" userId="fd3b2067-2981-4ad8-bf3a-d2e1004e4fa8" providerId="ADAL" clId="{13149D6F-E9AD-4CF4-AC96-412CEC4FA8FC}"/>
    <pc:docChg chg="modSld">
      <pc:chgData name="Weigel Stefan (PAR-ES)" userId="fd3b2067-2981-4ad8-bf3a-d2e1004e4fa8" providerId="ADAL" clId="{13149D6F-E9AD-4CF4-AC96-412CEC4FA8FC}" dt="2023-01-17T12:22:45.521" v="7"/>
      <pc:docMkLst>
        <pc:docMk/>
      </pc:docMkLst>
      <pc:sldChg chg="modSp mod">
        <pc:chgData name="Weigel Stefan (PAR-ES)" userId="fd3b2067-2981-4ad8-bf3a-d2e1004e4fa8" providerId="ADAL" clId="{13149D6F-E9AD-4CF4-AC96-412CEC4FA8FC}" dt="2023-01-17T12:22:45.521" v="7"/>
        <pc:sldMkLst>
          <pc:docMk/>
          <pc:sldMk cId="2543225151" sldId="405"/>
        </pc:sldMkLst>
        <pc:graphicFrameChg chg="mod">
          <ac:chgData name="Weigel Stefan (PAR-ES)" userId="fd3b2067-2981-4ad8-bf3a-d2e1004e4fa8" providerId="ADAL" clId="{13149D6F-E9AD-4CF4-AC96-412CEC4FA8FC}" dt="2023-01-17T12:22:45.521" v="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327EBCB-07DD-4905-80C5-E5F8D666D7A4}"/>
    <pc:docChg chg="modSld">
      <pc:chgData name="Meyer Raphael (PAR-ES)" userId="79615dfe-ed48-4e74-a40f-4f7b034c1c27" providerId="ADAL" clId="{E327EBCB-07DD-4905-80C5-E5F8D666D7A4}" dt="2023-03-10T14:58:20.822" v="0" actId="6549"/>
      <pc:docMkLst>
        <pc:docMk/>
      </pc:docMkLst>
      <pc:sldChg chg="modSp mod">
        <pc:chgData name="Meyer Raphael (PAR-ES)" userId="79615dfe-ed48-4e74-a40f-4f7b034c1c27" providerId="ADAL" clId="{E327EBCB-07DD-4905-80C5-E5F8D666D7A4}" dt="2023-03-10T14:58:20.822" v="0" actId="6549"/>
        <pc:sldMkLst>
          <pc:docMk/>
          <pc:sldMk cId="2543225151" sldId="405"/>
        </pc:sldMkLst>
        <pc:spChg chg="mod">
          <ac:chgData name="Meyer Raphael (PAR-ES)" userId="79615dfe-ed48-4e74-a40f-4f7b034c1c27" providerId="ADAL" clId="{E327EBCB-07DD-4905-80C5-E5F8D666D7A4}" dt="2023-03-10T14:58:20.822" v="0" actId="6549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9</c:f>
              <c:strCache>
                <c:ptCount val="1"/>
                <c:pt idx="0">
                  <c:v>Passenger Services Markets and Passenger Services Production</c:v>
                </c:pt>
              </c:strCache>
            </c:strRef>
          </c:tx>
          <c:spPr>
            <a:solidFill>
              <a:srgbClr val="E5E5E5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10:$C$20</c:f>
              <c:numCache>
                <c:formatCode>#,##0.000</c:formatCode>
                <c:ptCount val="11"/>
                <c:pt idx="0">
                  <c:v>1.01587939776</c:v>
                </c:pt>
                <c:pt idx="1">
                  <c:v>0.84821249399999998</c:v>
                </c:pt>
                <c:pt idx="2">
                  <c:v>0.8283368277230001</c:v>
                </c:pt>
                <c:pt idx="3">
                  <c:v>0.57791295489000005</c:v>
                </c:pt>
                <c:pt idx="4">
                  <c:v>0.72153651090999993</c:v>
                </c:pt>
                <c:pt idx="5">
                  <c:v>0.75046792439999999</c:v>
                </c:pt>
                <c:pt idx="6">
                  <c:v>0.89454509217</c:v>
                </c:pt>
                <c:pt idx="7">
                  <c:v>1.1871844599050101</c:v>
                </c:pt>
                <c:pt idx="8">
                  <c:v>0.93675952575999999</c:v>
                </c:pt>
                <c:pt idx="9">
                  <c:v>0.80510579250657099</c:v>
                </c:pt>
                <c:pt idx="10">
                  <c:v>0.68115935371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9</c:f>
              <c:strCache>
                <c:ptCount val="1"/>
                <c:pt idx="0">
                  <c:v>Real Estate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10:$D$20</c:f>
              <c:numCache>
                <c:formatCode>#,##0.000</c:formatCode>
                <c:ptCount val="11"/>
                <c:pt idx="0">
                  <c:v>0.46944028363000001</c:v>
                </c:pt>
                <c:pt idx="1">
                  <c:v>0.45806077000000001</c:v>
                </c:pt>
                <c:pt idx="2">
                  <c:v>0.55061685219000001</c:v>
                </c:pt>
                <c:pt idx="3">
                  <c:v>0.55449757157000001</c:v>
                </c:pt>
                <c:pt idx="4">
                  <c:v>0.68340522972999995</c:v>
                </c:pt>
                <c:pt idx="5">
                  <c:v>0.61872345032999998</c:v>
                </c:pt>
                <c:pt idx="6">
                  <c:v>0.58587582732999999</c:v>
                </c:pt>
                <c:pt idx="7">
                  <c:v>0.46327612801000001</c:v>
                </c:pt>
                <c:pt idx="8">
                  <c:v>0.41223381136000004</c:v>
                </c:pt>
                <c:pt idx="9">
                  <c:v>0.50162527670000001</c:v>
                </c:pt>
                <c:pt idx="10">
                  <c:v>0.57835182270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9</c:f>
              <c:strCache>
                <c:ptCount val="1"/>
                <c:pt idx="0">
                  <c:v>Freight Section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10:$E$20</c:f>
              <c:numCache>
                <c:formatCode>#,##0.000</c:formatCode>
                <c:ptCount val="11"/>
                <c:pt idx="0">
                  <c:v>3.1454666549999996E-2</c:v>
                </c:pt>
                <c:pt idx="1">
                  <c:v>1.5886504370000002E-2</c:v>
                </c:pt>
                <c:pt idx="2">
                  <c:v>2.7714453720000001E-2</c:v>
                </c:pt>
                <c:pt idx="3">
                  <c:v>1.8395506739999998E-2</c:v>
                </c:pt>
                <c:pt idx="4">
                  <c:v>3.0482708840000001E-2</c:v>
                </c:pt>
                <c:pt idx="5">
                  <c:v>3.3709855660000003E-2</c:v>
                </c:pt>
                <c:pt idx="6">
                  <c:v>3.41360847E-2</c:v>
                </c:pt>
                <c:pt idx="7">
                  <c:v>3.7950270030480501E-2</c:v>
                </c:pt>
                <c:pt idx="8">
                  <c:v>3.1848191114242905E-2</c:v>
                </c:pt>
                <c:pt idx="9">
                  <c:v>1.7805723632602698E-2</c:v>
                </c:pt>
                <c:pt idx="10">
                  <c:v>2.36566677076502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9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10:$F$20</c:f>
              <c:numCache>
                <c:formatCode>#,##0.000</c:formatCode>
                <c:ptCount val="11"/>
                <c:pt idx="0">
                  <c:v>2.0058902696100001</c:v>
                </c:pt>
                <c:pt idx="1">
                  <c:v>2.0842433488999998</c:v>
                </c:pt>
                <c:pt idx="2">
                  <c:v>2.1402772349300001</c:v>
                </c:pt>
                <c:pt idx="3">
                  <c:v>5.7711939926399998</c:v>
                </c:pt>
                <c:pt idx="4">
                  <c:v>2.0749476292</c:v>
                </c:pt>
                <c:pt idx="5">
                  <c:v>2.1382653223300001</c:v>
                </c:pt>
                <c:pt idx="6">
                  <c:v>2.9930333324100005</c:v>
                </c:pt>
                <c:pt idx="7">
                  <c:v>3.6330772980699999</c:v>
                </c:pt>
                <c:pt idx="8">
                  <c:v>2.0585050420300002</c:v>
                </c:pt>
                <c:pt idx="9">
                  <c:v>3.0301850943600002</c:v>
                </c:pt>
                <c:pt idx="10">
                  <c:v>2.36938620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9</c:f>
              <c:strCache>
                <c:ptCount val="1"/>
                <c:pt idx="0">
                  <c:v>Group-level unit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10:$G$20</c:f>
              <c:numCache>
                <c:formatCode>#,##0.000</c:formatCode>
                <c:ptCount val="11"/>
                <c:pt idx="0">
                  <c:v>3.9503450960000006E-2</c:v>
                </c:pt>
                <c:pt idx="1">
                  <c:v>5.6085001286000004E-2</c:v>
                </c:pt>
                <c:pt idx="2">
                  <c:v>4.939953129E-2</c:v>
                </c:pt>
                <c:pt idx="3">
                  <c:v>3.3320021060000003E-2</c:v>
                </c:pt>
                <c:pt idx="4">
                  <c:v>2.878219374E-2</c:v>
                </c:pt>
                <c:pt idx="5">
                  <c:v>2.2944197750000003E-2</c:v>
                </c:pt>
                <c:pt idx="6">
                  <c:v>2.6484992200000002E-2</c:v>
                </c:pt>
                <c:pt idx="7">
                  <c:v>2.0499518179999999E-2</c:v>
                </c:pt>
                <c:pt idx="8">
                  <c:v>3.0299639320000002E-2</c:v>
                </c:pt>
                <c:pt idx="9">
                  <c:v>3.7238405299999999E-2</c:v>
                </c:pt>
                <c:pt idx="10">
                  <c:v>4.391700066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036</cdr:x>
      <cdr:y>0.073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99133"/>
          <a:ext cx="612916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/>
            <a:t>Mrd. CHF</a:t>
          </a:r>
          <a:endParaRPr lang="de-CH" sz="10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s to assets reflected in the balance sheet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64062019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15608" y="6101349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GB" sz="1000" dirty="0" err="1">
                <a:solidFill>
                  <a:srgbClr val="444444"/>
                </a:solidFill>
                <a:cs typeface="Arial" pitchFamily="34" charset="0"/>
              </a:rPr>
              <a:t>Capitalisable</a:t>
            </a:r>
            <a:r>
              <a:rPr lang="en-GB" sz="1000" dirty="0">
                <a:solidFill>
                  <a:srgbClr val="444444"/>
                </a:solidFill>
                <a:cs typeface="Arial" pitchFamily="34" charset="0"/>
              </a:rPr>
              <a:t> additions to fixed and intangible assets reflected in the balance sheet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26A1FC-C66A-44D7-9680-C1C5F311E4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dditions to assets reflected in the balance shee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itions to assets reflected in the balance sheet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2-28T09:3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